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2" r:id="rId1"/>
  </p:sldMasterIdLst>
  <p:notesMasterIdLst>
    <p:notesMasterId r:id="rId3"/>
  </p:notesMasterIdLst>
  <p:handoutMasterIdLst>
    <p:handoutMasterId r:id="rId4"/>
  </p:handoutMasterIdLst>
  <p:sldIdLst>
    <p:sldId id="337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 showGuides="1">
      <p:cViewPr varScale="1">
        <p:scale>
          <a:sx n="80" d="100"/>
          <a:sy n="80" d="100"/>
        </p:scale>
        <p:origin x="84" y="63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0/10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0/10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4475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 October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39789BC4-B122-4E3A-BA63-63563F396CD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95248988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6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6" name="Objek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ver up to 40% of blowing air</a:t>
            </a:r>
            <a:endParaRPr lang="en-GB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30513" y="1424369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dirty="0"/>
              <a:t>ARK: Air Recovery Kit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ue: Cost </a:t>
            </a:r>
            <a:r>
              <a:rPr lang="en-US" sz="800" kern="0" dirty="0" err="1">
                <a:solidFill>
                  <a:srgbClr val="000000"/>
                </a:solidFill>
              </a:rPr>
              <a:t>Optimisation</a:t>
            </a:r>
            <a:r>
              <a:rPr lang="en-US" sz="800" kern="0">
                <a:solidFill>
                  <a:srgbClr val="000000"/>
                </a:solidFill>
              </a:rPr>
              <a:t>, Sustainability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ment: Universal blow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alogue code: 1005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Up to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</a:rPr>
                        <a:t>40% </a:t>
                      </a:r>
                      <a:r>
                        <a:rPr lang="en-US" sz="1200" dirty="0"/>
                        <a:t>of blowing air is recovered and reused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Return on investment in just 12-24 months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Demand on compressors is also reduced resulting in significant electricity savings 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air recovery kit enables a significant amount </a:t>
                      </a:r>
                      <a:b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f the air otherwise lost to be recycled for use in production and thus reduce energy consumption considerably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is recovered air is then used for the production </a:t>
                      </a:r>
                      <a:b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f air as follows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eblow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ir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rvice air for the blow wheel </a:t>
                      </a:r>
                      <a:b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stretching and nozzle cylinders)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cess air can also feed the factory's air network </a:t>
                      </a:r>
                      <a:b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or other applications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or hygiene reasons, the air recovery option is not compatible with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edis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equipment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617132"/>
            <a:ext cx="1173935" cy="10228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66E56C74-FD49-495D-8522-37439EF21DFD}"/>
              </a:ext>
            </a:extLst>
          </p:cNvPr>
          <p:cNvSpPr/>
          <p:nvPr/>
        </p:nvSpPr>
        <p:spPr>
          <a:xfrm>
            <a:off x="4759900" y="1743075"/>
            <a:ext cx="3889375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2823885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13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Sidel_Template_4x3_v10_FINAL</Template>
  <TotalTime>6</TotalTime>
  <Words>69</Words>
  <Application>Microsoft Office PowerPoint</Application>
  <PresentationFormat>Affichage à l'écran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ＭＳ Ｐゴシック</vt:lpstr>
      <vt:lpstr>Arial</vt:lpstr>
      <vt:lpstr>Wingdings</vt:lpstr>
      <vt:lpstr>LIOMT</vt:lpstr>
      <vt:lpstr>think-cell Folie</vt:lpstr>
      <vt:lpstr>Recover up to 40% of blowing air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your equipment efficiency by implementing the autonomous maintenance principles</dc:title>
  <dc:creator>Sorega, Dan</dc:creator>
  <cp:lastModifiedBy>Sorega, Dan</cp:lastModifiedBy>
  <cp:revision>21</cp:revision>
  <dcterms:created xsi:type="dcterms:W3CDTF">2017-06-28T07:21:44Z</dcterms:created>
  <dcterms:modified xsi:type="dcterms:W3CDTF">2019-10-10T13:50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08-13T13:28:44.1757039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4-10T13:45:49.9530240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4-10T13:45:49.9530240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